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13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118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1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1. </a:t>
            </a:r>
            <a:r>
              <a:rPr lang="cs-CZ" b="1" dirty="0" smtClean="0"/>
              <a:t>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34115"/>
              </p:ext>
            </p:extLst>
          </p:nvPr>
        </p:nvGraphicFramePr>
        <p:xfrm>
          <a:off x="376606" y="813855"/>
          <a:ext cx="11519385" cy="4795637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situace klidná, předpokládáme potíže s nemocností personálu a personálem na OČR či v karanténě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jen ECMO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004281"/>
              </p:ext>
            </p:extLst>
          </p:nvPr>
        </p:nvGraphicFramePr>
        <p:xfrm>
          <a:off x="434413" y="847512"/>
          <a:ext cx="11435203" cy="539622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žení C19 JIP (pokles zatím pouze o 1/3 v porovnání se špičkovým zatížením na podzim 2021). Nemocnost personálu zatím bez zásadního vlivu na provoz.</a:t>
                      </a:r>
                    </a:p>
                  </a:txBody>
                  <a:tcPr marL="95250" marR="95250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 Začínáme pociťovat nedostatek personálu z důvodu pozitivity či karantény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navýšena elektivní péče, v intenzivní péči nadál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í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(ZZ zatím nezadávají do DIP – informace zaslána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HC pokles C+ hospitalizovaných na standardu, JIP zatížené také méně, trvá hospitaliz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mimo ISIN. Využívání možnost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acovní karantény.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1.1.2022 00:40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69</a:t>
            </a:r>
            <a:endParaRPr lang="cs-CZ" b="1" dirty="0" smtClean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24995"/>
              </p:ext>
            </p:extLst>
          </p:nvPr>
        </p:nvGraphicFramePr>
        <p:xfrm>
          <a:off x="228599" y="958368"/>
          <a:ext cx="9003324" cy="5361313"/>
        </p:xfrm>
        <a:graphic>
          <a:graphicData uri="http://schemas.openxmlformats.org/drawingml/2006/table">
            <a:tbl>
              <a:tblPr/>
              <a:tblGrid>
                <a:gridCol w="1911175">
                  <a:extLst>
                    <a:ext uri="{9D8B030D-6E8A-4147-A177-3AD203B41FA5}">
                      <a16:colId xmlns:a16="http://schemas.microsoft.com/office/drawing/2014/main" val="822224820"/>
                    </a:ext>
                  </a:extLst>
                </a:gridCol>
                <a:gridCol w="1170106">
                  <a:extLst>
                    <a:ext uri="{9D8B030D-6E8A-4147-A177-3AD203B41FA5}">
                      <a16:colId xmlns:a16="http://schemas.microsoft.com/office/drawing/2014/main" val="3101468764"/>
                    </a:ext>
                  </a:extLst>
                </a:gridCol>
                <a:gridCol w="1082349">
                  <a:extLst>
                    <a:ext uri="{9D8B030D-6E8A-4147-A177-3AD203B41FA5}">
                      <a16:colId xmlns:a16="http://schemas.microsoft.com/office/drawing/2014/main" val="2401104351"/>
                    </a:ext>
                  </a:extLst>
                </a:gridCol>
                <a:gridCol w="1079098">
                  <a:extLst>
                    <a:ext uri="{9D8B030D-6E8A-4147-A177-3AD203B41FA5}">
                      <a16:colId xmlns:a16="http://schemas.microsoft.com/office/drawing/2014/main" val="109579741"/>
                    </a:ext>
                  </a:extLst>
                </a:gridCol>
                <a:gridCol w="1118103">
                  <a:extLst>
                    <a:ext uri="{9D8B030D-6E8A-4147-A177-3AD203B41FA5}">
                      <a16:colId xmlns:a16="http://schemas.microsoft.com/office/drawing/2014/main" val="1543340151"/>
                    </a:ext>
                  </a:extLst>
                </a:gridCol>
                <a:gridCol w="1121353">
                  <a:extLst>
                    <a:ext uri="{9D8B030D-6E8A-4147-A177-3AD203B41FA5}">
                      <a16:colId xmlns:a16="http://schemas.microsoft.com/office/drawing/2014/main" val="142102234"/>
                    </a:ext>
                  </a:extLst>
                </a:gridCol>
                <a:gridCol w="1521140">
                  <a:extLst>
                    <a:ext uri="{9D8B030D-6E8A-4147-A177-3AD203B41FA5}">
                      <a16:colId xmlns:a16="http://schemas.microsoft.com/office/drawing/2014/main" val="67239161"/>
                    </a:ext>
                  </a:extLst>
                </a:gridCol>
              </a:tblGrid>
              <a:tr h="18739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6749278"/>
                  </a:ext>
                </a:extLst>
              </a:tr>
              <a:tr h="187392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1.01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868003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068411"/>
                  </a:ext>
                </a:extLst>
              </a:tr>
              <a:tr h="18739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1621121"/>
                  </a:ext>
                </a:extLst>
              </a:tr>
              <a:tr h="65762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371599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6517824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0606991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3618720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8610926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78189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8347493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7964186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5918093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1131531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4274372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115967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7530871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409986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794213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0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9380222"/>
                  </a:ext>
                </a:extLst>
              </a:tr>
              <a:tr h="187392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7039643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422661"/>
                  </a:ext>
                </a:extLst>
              </a:tr>
              <a:tr h="18739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3889607"/>
                  </a:ext>
                </a:extLst>
              </a:tr>
              <a:tr h="18739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7862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356863"/>
              </p:ext>
            </p:extLst>
          </p:nvPr>
        </p:nvGraphicFramePr>
        <p:xfrm>
          <a:off x="202221" y="975948"/>
          <a:ext cx="9187963" cy="5385482"/>
        </p:xfrm>
        <a:graphic>
          <a:graphicData uri="http://schemas.openxmlformats.org/drawingml/2006/table">
            <a:tbl>
              <a:tblPr/>
              <a:tblGrid>
                <a:gridCol w="1950369">
                  <a:extLst>
                    <a:ext uri="{9D8B030D-6E8A-4147-A177-3AD203B41FA5}">
                      <a16:colId xmlns:a16="http://schemas.microsoft.com/office/drawing/2014/main" val="307714676"/>
                    </a:ext>
                  </a:extLst>
                </a:gridCol>
                <a:gridCol w="1194104">
                  <a:extLst>
                    <a:ext uri="{9D8B030D-6E8A-4147-A177-3AD203B41FA5}">
                      <a16:colId xmlns:a16="http://schemas.microsoft.com/office/drawing/2014/main" val="1218426373"/>
                    </a:ext>
                  </a:extLst>
                </a:gridCol>
                <a:gridCol w="1104545">
                  <a:extLst>
                    <a:ext uri="{9D8B030D-6E8A-4147-A177-3AD203B41FA5}">
                      <a16:colId xmlns:a16="http://schemas.microsoft.com/office/drawing/2014/main" val="799381200"/>
                    </a:ext>
                  </a:extLst>
                </a:gridCol>
                <a:gridCol w="1101229">
                  <a:extLst>
                    <a:ext uri="{9D8B030D-6E8A-4147-A177-3AD203B41FA5}">
                      <a16:colId xmlns:a16="http://schemas.microsoft.com/office/drawing/2014/main" val="2065365145"/>
                    </a:ext>
                  </a:extLst>
                </a:gridCol>
                <a:gridCol w="1141032">
                  <a:extLst>
                    <a:ext uri="{9D8B030D-6E8A-4147-A177-3AD203B41FA5}">
                      <a16:colId xmlns:a16="http://schemas.microsoft.com/office/drawing/2014/main" val="3517856446"/>
                    </a:ext>
                  </a:extLst>
                </a:gridCol>
                <a:gridCol w="1144349">
                  <a:extLst>
                    <a:ext uri="{9D8B030D-6E8A-4147-A177-3AD203B41FA5}">
                      <a16:colId xmlns:a16="http://schemas.microsoft.com/office/drawing/2014/main" val="3289255596"/>
                    </a:ext>
                  </a:extLst>
                </a:gridCol>
                <a:gridCol w="1552335">
                  <a:extLst>
                    <a:ext uri="{9D8B030D-6E8A-4147-A177-3AD203B41FA5}">
                      <a16:colId xmlns:a16="http://schemas.microsoft.com/office/drawing/2014/main" val="3897293188"/>
                    </a:ext>
                  </a:extLst>
                </a:gridCol>
              </a:tblGrid>
              <a:tr h="20318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9105917"/>
                  </a:ext>
                </a:extLst>
              </a:tr>
              <a:tr h="18892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1.01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9405119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2072816"/>
                  </a:ext>
                </a:extLst>
              </a:tr>
              <a:tr h="18710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4643965"/>
                  </a:ext>
                </a:extLst>
              </a:tr>
              <a:tr h="68149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2076537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120918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639231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0103867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6094609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6254016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828129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510711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7453345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3762246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4490011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3854565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790340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514293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5153813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9881602"/>
                  </a:ext>
                </a:extLst>
              </a:tr>
              <a:tr h="18710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774259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788373"/>
                  </a:ext>
                </a:extLst>
              </a:tr>
              <a:tr h="1871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5390986"/>
                  </a:ext>
                </a:extLst>
              </a:tr>
              <a:tr h="18710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33500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21.1.2022 00:40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30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1222336"/>
              </p:ext>
            </p:extLst>
          </p:nvPr>
        </p:nvGraphicFramePr>
        <p:xfrm>
          <a:off x="332818" y="976670"/>
          <a:ext cx="8033576" cy="5310099"/>
        </p:xfrm>
        <a:graphic>
          <a:graphicData uri="http://schemas.openxmlformats.org/drawingml/2006/table">
            <a:tbl>
              <a:tblPr/>
              <a:tblGrid>
                <a:gridCol w="1632818">
                  <a:extLst>
                    <a:ext uri="{9D8B030D-6E8A-4147-A177-3AD203B41FA5}">
                      <a16:colId xmlns:a16="http://schemas.microsoft.com/office/drawing/2014/main" val="2952059255"/>
                    </a:ext>
                  </a:extLst>
                </a:gridCol>
                <a:gridCol w="999685">
                  <a:extLst>
                    <a:ext uri="{9D8B030D-6E8A-4147-A177-3AD203B41FA5}">
                      <a16:colId xmlns:a16="http://schemas.microsoft.com/office/drawing/2014/main" val="2660063523"/>
                    </a:ext>
                  </a:extLst>
                </a:gridCol>
                <a:gridCol w="924708">
                  <a:extLst>
                    <a:ext uri="{9D8B030D-6E8A-4147-A177-3AD203B41FA5}">
                      <a16:colId xmlns:a16="http://schemas.microsoft.com/office/drawing/2014/main" val="2021327141"/>
                    </a:ext>
                  </a:extLst>
                </a:gridCol>
                <a:gridCol w="921931">
                  <a:extLst>
                    <a:ext uri="{9D8B030D-6E8A-4147-A177-3AD203B41FA5}">
                      <a16:colId xmlns:a16="http://schemas.microsoft.com/office/drawing/2014/main" val="1143099430"/>
                    </a:ext>
                  </a:extLst>
                </a:gridCol>
                <a:gridCol w="955254">
                  <a:extLst>
                    <a:ext uri="{9D8B030D-6E8A-4147-A177-3AD203B41FA5}">
                      <a16:colId xmlns:a16="http://schemas.microsoft.com/office/drawing/2014/main" val="292970517"/>
                    </a:ext>
                  </a:extLst>
                </a:gridCol>
                <a:gridCol w="1299590">
                  <a:extLst>
                    <a:ext uri="{9D8B030D-6E8A-4147-A177-3AD203B41FA5}">
                      <a16:colId xmlns:a16="http://schemas.microsoft.com/office/drawing/2014/main" val="3849155792"/>
                    </a:ext>
                  </a:extLst>
                </a:gridCol>
                <a:gridCol w="1299590">
                  <a:extLst>
                    <a:ext uri="{9D8B030D-6E8A-4147-A177-3AD203B41FA5}">
                      <a16:colId xmlns:a16="http://schemas.microsoft.com/office/drawing/2014/main" val="1702649411"/>
                    </a:ext>
                  </a:extLst>
                </a:gridCol>
              </a:tblGrid>
              <a:tr h="20483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219827"/>
                  </a:ext>
                </a:extLst>
              </a:tr>
              <a:tr h="20483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1.01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1985787"/>
                  </a:ext>
                </a:extLst>
              </a:tr>
              <a:tr h="1759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2330917"/>
                  </a:ext>
                </a:extLst>
              </a:tr>
              <a:tr h="20483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8036382"/>
                  </a:ext>
                </a:extLst>
              </a:tr>
              <a:tr h="55598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981815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955091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237110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906106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031440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84887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17784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80256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512524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147862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346250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667726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694344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8191815"/>
                  </a:ext>
                </a:extLst>
              </a:tr>
              <a:tr h="1902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49451"/>
                  </a:ext>
                </a:extLst>
              </a:tr>
              <a:tr h="197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84894"/>
                  </a:ext>
                </a:extLst>
              </a:tr>
              <a:tr h="18288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1827837"/>
                  </a:ext>
                </a:extLst>
              </a:tr>
              <a:tr h="17595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9697256"/>
                  </a:ext>
                </a:extLst>
              </a:tr>
              <a:tr h="17595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8390879"/>
                  </a:ext>
                </a:extLst>
              </a:tr>
              <a:tr h="18288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0955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9051232" y="4326831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.1.2022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1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889023" y="2034581"/>
            <a:ext cx="29558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a ZZ o aktualizaci</a:t>
            </a:r>
          </a:p>
          <a:p>
            <a:pPr algn="ctr"/>
            <a:r>
              <a:rPr lang="cs-CZ" dirty="0" smtClean="0"/>
              <a:t> volných lůžkových kapacit </a:t>
            </a:r>
          </a:p>
          <a:p>
            <a:pPr algn="ctr"/>
            <a:r>
              <a:rPr lang="cs-CZ" dirty="0" smtClean="0"/>
              <a:t>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529224"/>
              </p:ext>
            </p:extLst>
          </p:nvPr>
        </p:nvGraphicFramePr>
        <p:xfrm>
          <a:off x="1318847" y="1485745"/>
          <a:ext cx="5970953" cy="4261485"/>
        </p:xfrm>
        <a:graphic>
          <a:graphicData uri="http://schemas.openxmlformats.org/drawingml/2006/table">
            <a:tbl>
              <a:tblPr/>
              <a:tblGrid>
                <a:gridCol w="3238243">
                  <a:extLst>
                    <a:ext uri="{9D8B030D-6E8A-4147-A177-3AD203B41FA5}">
                      <a16:colId xmlns:a16="http://schemas.microsoft.com/office/drawing/2014/main" val="3709089991"/>
                    </a:ext>
                  </a:extLst>
                </a:gridCol>
                <a:gridCol w="791885">
                  <a:extLst>
                    <a:ext uri="{9D8B030D-6E8A-4147-A177-3AD203B41FA5}">
                      <a16:colId xmlns:a16="http://schemas.microsoft.com/office/drawing/2014/main" val="2916318408"/>
                    </a:ext>
                  </a:extLst>
                </a:gridCol>
                <a:gridCol w="1940825">
                  <a:extLst>
                    <a:ext uri="{9D8B030D-6E8A-4147-A177-3AD203B41FA5}">
                      <a16:colId xmlns:a16="http://schemas.microsoft.com/office/drawing/2014/main" val="163112969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slední 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4627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Čáslav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 5:0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4247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SENIA a.s., Rehabilitační nemocnice Berou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 8:4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32072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3688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C Klinika Zlín a.s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2 7:47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82019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Královské Vinohrad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 11:2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903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kardiovaskulární a transplantační chirurgie Brn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 13:12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55966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Jablonec nad Nisou, p.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 14:47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548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Kladno,a.s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 15:15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32128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 16:2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49096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 18:2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36628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Litoměřice, a.s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 20:1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3321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122056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21.1.2022 0:40 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72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52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4,2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69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0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9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70,3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60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29,2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03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30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14,6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8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2,7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71273" y="3026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168136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.202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3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,3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8690" y="2927866"/>
            <a:ext cx="10397888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ne 19.1. byl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56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nově přijatých C+ pacientů a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32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 i vzhledem ke zvyšujícím se počtům pozitivních testů, nižší počty příjmů C+ pac, ve všech krajích obnovena elektivní operativa s omezením do 50 % 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méně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Dochází k úbytku personálu – nemocnost, OČR.</a:t>
            </a:r>
          </a:p>
          <a:p>
            <a:pPr lvl="1">
              <a:defRPr/>
            </a:pPr>
            <a:endParaRPr lang="cs-CZ" sz="17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sz="17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pacienti k 20.1.2022 11:20 -&gt; 123 celkem, z toh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75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c na JIP, z toh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58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c na UPV/ECMO</a:t>
            </a: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pokles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u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 začíná stagnovat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141807"/>
              </p:ext>
            </p:extLst>
          </p:nvPr>
        </p:nvGraphicFramePr>
        <p:xfrm>
          <a:off x="332646" y="832093"/>
          <a:ext cx="11405086" cy="514734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tabilní, kapacita standardní i IP pro C+ dostatečná, elektivní péče nadále částečně omezená ve prospěch COVID jednotek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personálu i s ohledem na vysoký počet PN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ednotlivých ZZ průběžně upravována kapacita C+ jednotek, v oblasti standardních lůžek t.č. cca obsazenost 50%, v IP zachová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zdor narůstajícímu počtu pozitivních výsledků AG a PCR je zatím v nemocnicích situace klidná s postupným návratem k elektivní operativě (stále s mírným omezením IP pro pooperační stavy)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635138"/>
              </p:ext>
            </p:extLst>
          </p:nvPr>
        </p:nvGraphicFramePr>
        <p:xfrm>
          <a:off x="288084" y="735512"/>
          <a:ext cx="11587543" cy="5522783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kles hospitalizovaných C+ pacientů standard/IP. Vyšší zátěž a potřeb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nzivní péče. Nedostatek personálu v důsledku zvýšené nemocnosti, karantén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tc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ní bariéry k obnově normálního provozu - jednak otázka karantén a dále nejistota stran dalšího vývoje potřeby lůžek blokují větší rozvolnění v elektivní péči</a:t>
                      </a: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819</TotalTime>
  <Words>1926</Words>
  <Application>Microsoft Office PowerPoint</Application>
  <PresentationFormat>Širokoúhlá obrazovka</PresentationFormat>
  <Paragraphs>562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928</cp:revision>
  <cp:lastPrinted>2020-10-20T04:21:56Z</cp:lastPrinted>
  <dcterms:created xsi:type="dcterms:W3CDTF">2020-07-15T10:33:32Z</dcterms:created>
  <dcterms:modified xsi:type="dcterms:W3CDTF">2022-01-21T10:52:54Z</dcterms:modified>
</cp:coreProperties>
</file>